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7"/>
  </p:notesMasterIdLst>
  <p:sldIdLst>
    <p:sldId id="2147472130" r:id="rId2"/>
    <p:sldId id="2147472126" r:id="rId3"/>
    <p:sldId id="2147472127" r:id="rId4"/>
    <p:sldId id="2147472128" r:id="rId5"/>
    <p:sldId id="2147472129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6197"/>
  </p:normalViewPr>
  <p:slideViewPr>
    <p:cSldViewPr snapToGrid="0">
      <p:cViewPr varScale="1">
        <p:scale>
          <a:sx n="119" d="100"/>
          <a:sy n="119" d="100"/>
        </p:scale>
        <p:origin x="31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67B5F-7638-A84A-BA5C-E1B50A5081B3}" type="datetimeFigureOut">
              <a:rPr lang="en-US" smtClean="0"/>
              <a:t>11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B92ABB-C5E4-8D43-9484-869712BC96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86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307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515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50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829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17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2FF57A0A-C5DD-42B6-8DD3-E5EA041C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B76EAFD-CFBB-5D7A-BF2B-FE6E936D6D73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999F434-375D-7840-CAE8-8DDD86A9CE5C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6929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3526B5-FCD5-082C-C273-BEA9E63A640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1000" y="1471613"/>
            <a:ext cx="11430000" cy="4940300"/>
          </a:xfrm>
        </p:spPr>
        <p:txBody>
          <a:bodyPr/>
          <a:lstStyle>
            <a:lvl1pPr>
              <a:defRPr sz="1800" b="0" i="0">
                <a:latin typeface="Graphik Light" panose="020B0403030202060203" pitchFamily="34" charset="77"/>
              </a:defRPr>
            </a:lvl1pPr>
            <a:lvl2pPr>
              <a:defRPr sz="1600" b="0" i="0">
                <a:latin typeface="Graphik Light" panose="020B0403030202060203" pitchFamily="34" charset="77"/>
              </a:defRPr>
            </a:lvl2pPr>
            <a:lvl3pPr>
              <a:defRPr sz="1400" b="0" i="0">
                <a:latin typeface="Graphik Light" panose="020B0403030202060203" pitchFamily="34" charset="77"/>
              </a:defRPr>
            </a:lvl3pPr>
            <a:lvl4pPr>
              <a:defRPr sz="1400" b="0" i="0">
                <a:latin typeface="Graphik Light" panose="020B0403030202060203" pitchFamily="34" charset="77"/>
              </a:defRPr>
            </a:lvl4pPr>
            <a:lvl5pPr>
              <a:defRPr sz="1400" b="0" i="0"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5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C2689B0A-B9A7-0BD7-F999-FB26DD35B07C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381000" y="1649413"/>
            <a:ext cx="11430000" cy="4838700"/>
          </a:xfrm>
        </p:spPr>
        <p:txBody>
          <a:bodyPr/>
          <a:lstStyle>
            <a:lvl1pPr>
              <a:defRPr b="0" i="0">
                <a:latin typeface="Graphik Light" panose="020B0403030202060203" pitchFamily="34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21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A7BAD11-2FE2-D47B-3D3B-A188DA7114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80998" y="349254"/>
            <a:ext cx="11430000" cy="338554"/>
          </a:xfrm>
          <a:prstGeom prst="rect">
            <a:avLst/>
          </a:prstGeom>
        </p:spPr>
        <p:txBody>
          <a:bodyPr vert="horz" lIns="0" tIns="91440" rIns="0" bIns="0" rtlCol="0">
            <a:spAutoFit/>
          </a:bodyPr>
          <a:lstStyle>
            <a:lvl1pPr marL="0" indent="0">
              <a:buNone/>
              <a:defRPr sz="1600" b="0" i="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5619D1-203D-8A47-2EC1-EC5EBC9F2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1044504"/>
            <a:ext cx="11429999" cy="798830"/>
          </a:xfrm>
          <a:prstGeom prst="rect">
            <a:avLst/>
          </a:prstGeom>
        </p:spPr>
        <p:txBody>
          <a:bodyPr/>
          <a:lstStyle/>
          <a:p>
            <a:r>
              <a:rPr lang="en-GB">
                <a:gradFill>
                  <a:gsLst>
                    <a:gs pos="0">
                      <a:srgbClr val="82F5D3"/>
                    </a:gs>
                    <a:gs pos="25000">
                      <a:srgbClr val="87D1DA"/>
                    </a:gs>
                    <a:gs pos="75000">
                      <a:srgbClr val="917CE8"/>
                    </a:gs>
                    <a:gs pos="49000">
                      <a:srgbClr val="8DA5E2"/>
                    </a:gs>
                    <a:gs pos="100000">
                      <a:srgbClr val="9C25F9"/>
                    </a:gs>
                  </a:gsLst>
                  <a:lin ang="3000000" scaled="0"/>
                </a:gradFill>
                <a:latin typeface="Graphik Semibold" panose="020B0503030202060203" pitchFamily="34" charset="77"/>
              </a:rPr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54580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7483A-54CF-4860-A416-CB8A0CD46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610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7483A-54CF-4860-A416-CB8A0CD4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F9EB10-3217-45F9-A25C-0E84881346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3" name="Rahmen 2">
            <a:extLst>
              <a:ext uri="{FF2B5EF4-FFF2-40B4-BE49-F238E27FC236}">
                <a16:creationId xmlns:a16="http://schemas.microsoft.com/office/drawing/2014/main" id="{CA8DEEB0-7BA7-B8F4-B684-0CB4BEA12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833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AFFE1E-6FAE-4E66-A6F2-085B7A9F6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94234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7800" marR="0" lvl="0" indent="-17780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Click to edit Master text styles</a:t>
            </a:r>
          </a:p>
          <a:p>
            <a:pPr marL="361950" marR="0" lvl="1" indent="-1841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503030202060203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Second level</a:t>
            </a:r>
          </a:p>
          <a:p>
            <a:pPr marL="539750" marR="0" lvl="2" indent="-1778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Third level</a:t>
            </a:r>
          </a:p>
          <a:p>
            <a:pPr marL="914400" marR="0" lvl="3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urth level</a:t>
            </a:r>
          </a:p>
          <a:p>
            <a:pPr marL="1143000" marR="0" lvl="4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ifth level</a:t>
            </a:r>
            <a:endParaRPr lang="en-GB" dirty="0"/>
          </a:p>
          <a:p>
            <a:pPr lvl="8"/>
            <a:endParaRPr lang="en-US" dirty="0"/>
          </a:p>
        </p:txBody>
      </p:sp>
      <p:sp>
        <p:nvSpPr>
          <p:cNvPr id="9" name="GTS_Purple">
            <a:extLst>
              <a:ext uri="{FF2B5EF4-FFF2-40B4-BE49-F238E27FC236}">
                <a16:creationId xmlns:a16="http://schemas.microsoft.com/office/drawing/2014/main" id="{AE0355C2-058C-4310-9508-BCC0F498F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551016B-4D99-C54D-3EE2-986123FAD81F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0D44011-362D-6DFA-D372-A4FA08AD1CA3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293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34" r:id="rId2"/>
    <p:sldLayoutId id="2147483735" r:id="rId3"/>
    <p:sldLayoutId id="2147483704" r:id="rId4"/>
    <p:sldLayoutId id="2147483675" r:id="rId5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770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171450" indent="-17145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2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1566836"/>
              </p:ext>
            </p:extLst>
          </p:nvPr>
        </p:nvGraphicFramePr>
        <p:xfrm>
          <a:off x="394698" y="1656678"/>
          <a:ext cx="11430000" cy="430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5000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5715000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5802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3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7752246"/>
              </p:ext>
            </p:extLst>
          </p:nvPr>
        </p:nvGraphicFramePr>
        <p:xfrm>
          <a:off x="394698" y="1656678"/>
          <a:ext cx="11514018" cy="430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8006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3838006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3838006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30973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4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11734"/>
              </p:ext>
            </p:extLst>
          </p:nvPr>
        </p:nvGraphicFramePr>
        <p:xfrm>
          <a:off x="394698" y="1656678"/>
          <a:ext cx="11393084" cy="430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8271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2848271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2848271">
                  <a:extLst>
                    <a:ext uri="{9D8B030D-6E8A-4147-A177-3AD203B41FA5}">
                      <a16:colId xmlns:a16="http://schemas.microsoft.com/office/drawing/2014/main" val="1898587114"/>
                    </a:ext>
                  </a:extLst>
                </a:gridCol>
                <a:gridCol w="2848271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Full Stack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(DS + AI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Eng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 + ML Ops)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Complement existing business and data science teams with AI/ML-specific engineering and operations expertise to design and build production-ready</a:t>
                      </a:r>
                      <a:b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AI applications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3158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5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784102"/>
              </p:ext>
            </p:extLst>
          </p:nvPr>
        </p:nvGraphicFramePr>
        <p:xfrm>
          <a:off x="394698" y="1656678"/>
          <a:ext cx="11393085" cy="43340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8617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1379726798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1898587114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dirty="0">
                          <a:solidFill>
                            <a:schemeClr val="bg1"/>
                          </a:solidFill>
                          <a:latin typeface="Graphik Medium" panose="020B0603030202060203" pitchFamily="34" charset="0"/>
                        </a:rPr>
                        <a:t>Example 3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Full Stack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(DS + AI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Eng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 + ML Ops)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dirty="0" err="1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dddd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Complement existing business and data science teams with AI/ML-specific engineering and operations expertise to design and build production-ready</a:t>
                      </a:r>
                      <a:b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AI applications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1937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6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376747"/>
              </p:ext>
            </p:extLst>
          </p:nvPr>
        </p:nvGraphicFramePr>
        <p:xfrm>
          <a:off x="394698" y="1371600"/>
          <a:ext cx="11393088" cy="4891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848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4018245215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1338924230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1898587114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6297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dirty="0">
                          <a:solidFill>
                            <a:schemeClr val="bg1"/>
                          </a:solidFill>
                          <a:latin typeface="Graphik Medium" panose="020B0603030202060203" pitchFamily="34" charset="0"/>
                        </a:rPr>
                        <a:t>Examp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dirty="0">
                          <a:solidFill>
                            <a:schemeClr val="bg1"/>
                          </a:solidFill>
                          <a:latin typeface="Graphik Medium" panose="020B0603030202060203" pitchFamily="34" charset="0"/>
                        </a:rPr>
                        <a:t>Examp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Full Stack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(DS + AI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Eng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 + ML Ops)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3157306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Complement existing business and data science teams with AI/ML-specific engineering and operations expertise to design and build production-ready</a:t>
                      </a:r>
                      <a:b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AI applications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2864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k2ZZQqXETjFXydhg0WCQ"/>
</p:tagLst>
</file>

<file path=ppt/theme/theme1.xml><?xml version="1.0" encoding="utf-8"?>
<a:theme xmlns:a="http://schemas.openxmlformats.org/drawingml/2006/main" name="Accenture 2022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template1" id="{D1BD6A58-DCB7-0149-BF3C-B7BF07264C4D}" vid="{24EC239B-D9CA-F542-8EFD-BA0875A2BB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0</TotalTime>
  <Words>689</Words>
  <Application>Microsoft Macintosh PowerPoint</Application>
  <PresentationFormat>Widescreen</PresentationFormat>
  <Paragraphs>50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Graphik</vt:lpstr>
      <vt:lpstr>Graphik Light</vt:lpstr>
      <vt:lpstr>Graphik Medium</vt:lpstr>
      <vt:lpstr>Graphik Semibold</vt:lpstr>
      <vt:lpstr>Graphik-Light</vt:lpstr>
      <vt:lpstr>Accenture 2022</vt:lpstr>
      <vt:lpstr>think-cell Folie</vt:lpstr>
      <vt:lpstr>Sample 2 Columns</vt:lpstr>
      <vt:lpstr>Sample 3 Columns</vt:lpstr>
      <vt:lpstr>Sample 4 Columns</vt:lpstr>
      <vt:lpstr>Sample 5 Columns</vt:lpstr>
      <vt:lpstr>Sample 6 Colum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 AI Overview</dc:title>
  <dc:creator>Zhang, Bo</dc:creator>
  <cp:lastModifiedBy>Zhang, Bo</cp:lastModifiedBy>
  <cp:revision>22</cp:revision>
  <dcterms:created xsi:type="dcterms:W3CDTF">2023-11-18T19:38:31Z</dcterms:created>
  <dcterms:modified xsi:type="dcterms:W3CDTF">2023-11-27T02:30:05Z</dcterms:modified>
</cp:coreProperties>
</file>